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Poppins" panose="00000500000000000000" pitchFamily="2" charset="0"/>
      <p:regular r:id="rId7"/>
      <p:bold r:id="rId8"/>
      <p:italic r:id="rId9"/>
      <p:boldItalic r:id="rId10"/>
    </p:embeddedFont>
    <p:embeddedFont>
      <p:font typeface="Poppins SemiBold" panose="00000700000000000000" pitchFamily="2" charset="0"/>
      <p:bold r:id="rId11"/>
      <p:boldItalic r:id="rId1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2121"/>
    <a:srgbClr val="E40E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2322" y="-15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presProps" Target="pres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theme" Target="theme/theme1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sv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3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oup 66">
            <a:extLst>
              <a:ext uri="{FF2B5EF4-FFF2-40B4-BE49-F238E27FC236}">
                <a16:creationId xmlns:a16="http://schemas.microsoft.com/office/drawing/2014/main" id="{2B5FB90D-B93D-332B-46C0-5B9753E86666}"/>
              </a:ext>
            </a:extLst>
          </p:cNvPr>
          <p:cNvGrpSpPr/>
          <p:nvPr/>
        </p:nvGrpSpPr>
        <p:grpSpPr>
          <a:xfrm>
            <a:off x="0" y="0"/>
            <a:ext cx="7556500" cy="10693400"/>
            <a:chOff x="0" y="0"/>
            <a:chExt cx="7556500" cy="10693400"/>
          </a:xfrm>
        </p:grpSpPr>
        <p:sp>
          <p:nvSpPr>
            <p:cNvPr id="3" name="Freeform 3"/>
            <p:cNvSpPr/>
            <p:nvPr/>
          </p:nvSpPr>
          <p:spPr>
            <a:xfrm>
              <a:off x="0" y="10567989"/>
              <a:ext cx="7556500" cy="125411"/>
            </a:xfrm>
            <a:custGeom>
              <a:avLst/>
              <a:gdLst/>
              <a:ahLst/>
              <a:cxnLst/>
              <a:rect l="l" t="t" r="r" b="b"/>
              <a:pathLst>
                <a:path w="2709333" h="44944">
                  <a:moveTo>
                    <a:pt x="0" y="0"/>
                  </a:moveTo>
                  <a:lnTo>
                    <a:pt x="2709333" y="0"/>
                  </a:lnTo>
                  <a:lnTo>
                    <a:pt x="2709333" y="44944"/>
                  </a:lnTo>
                  <a:lnTo>
                    <a:pt x="0" y="44944"/>
                  </a:lnTo>
                  <a:close/>
                </a:path>
              </a:pathLst>
            </a:custGeom>
            <a:solidFill>
              <a:srgbClr val="E40E2A"/>
            </a:solidFill>
          </p:spPr>
          <p:txBody>
            <a:bodyPr>
              <a:normAutofit fontScale="25000" lnSpcReduction="20000"/>
            </a:bodyPr>
            <a:lstStyle/>
            <a:p>
              <a:endParaRPr lang="en-US"/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1F69A58B-C561-77FC-18DB-FD8E8BA9E0E1}"/>
                </a:ext>
              </a:extLst>
            </p:cNvPr>
            <p:cNvGrpSpPr/>
            <p:nvPr/>
          </p:nvGrpSpPr>
          <p:grpSpPr>
            <a:xfrm>
              <a:off x="0" y="2613970"/>
              <a:ext cx="7556500" cy="4769138"/>
              <a:chOff x="0" y="2613970"/>
              <a:chExt cx="7556500" cy="4769138"/>
            </a:xfrm>
          </p:grpSpPr>
          <p:pic>
            <p:nvPicPr>
              <p:cNvPr id="10" name="Picture 10"/>
              <p:cNvPicPr>
                <a:picLocks noChangeAspect="1"/>
              </p:cNvPicPr>
              <p:nvPr/>
            </p:nvPicPr>
            <p:blipFill rotWithShape="1">
              <a:blip r:embed="rId3"/>
              <a:srcRect t="7934" b="7934"/>
              <a:stretch/>
            </p:blipFill>
            <p:spPr>
              <a:xfrm>
                <a:off x="0" y="2613970"/>
                <a:ext cx="7556500" cy="4769138"/>
              </a:xfrm>
              <a:prstGeom prst="rect">
                <a:avLst/>
              </a:prstGeom>
            </p:spPr>
          </p:pic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A86CA292-FF7C-3600-EB55-86E63F994F6D}"/>
                  </a:ext>
                </a:extLst>
              </p:cNvPr>
              <p:cNvGrpSpPr/>
              <p:nvPr/>
            </p:nvGrpSpPr>
            <p:grpSpPr>
              <a:xfrm>
                <a:off x="640836" y="2860165"/>
                <a:ext cx="1864898" cy="1864898"/>
                <a:chOff x="640836" y="2860165"/>
                <a:chExt cx="1864898" cy="1864898"/>
              </a:xfrm>
            </p:grpSpPr>
            <p:sp>
              <p:nvSpPr>
                <p:cNvPr id="26" name="Freeform 26"/>
                <p:cNvSpPr/>
                <p:nvPr/>
              </p:nvSpPr>
              <p:spPr>
                <a:xfrm rot="21194771">
                  <a:off x="640836" y="2860165"/>
                  <a:ext cx="1864898" cy="18648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lnTo>
                        <a:pt x="445826" y="33348"/>
                      </a:lnTo>
                      <a:lnTo>
                        <a:pt x="491360" y="8881"/>
                      </a:lnTo>
                      <a:lnTo>
                        <a:pt x="522953" y="49652"/>
                      </a:lnTo>
                      <a:lnTo>
                        <a:pt x="572609" y="35135"/>
                      </a:lnTo>
                      <a:lnTo>
                        <a:pt x="594986" y="81548"/>
                      </a:lnTo>
                      <a:lnTo>
                        <a:pt x="646591" y="77616"/>
                      </a:lnTo>
                      <a:lnTo>
                        <a:pt x="658778" y="127641"/>
                      </a:lnTo>
                      <a:lnTo>
                        <a:pt x="710077" y="134465"/>
                      </a:lnTo>
                      <a:lnTo>
                        <a:pt x="711539" y="185918"/>
                      </a:lnTo>
                      <a:lnTo>
                        <a:pt x="760292" y="203200"/>
                      </a:lnTo>
                      <a:lnTo>
                        <a:pt x="750965" y="253830"/>
                      </a:lnTo>
                      <a:lnTo>
                        <a:pt x="795038" y="280816"/>
                      </a:lnTo>
                      <a:lnTo>
                        <a:pt x="775331" y="328411"/>
                      </a:lnTo>
                      <a:lnTo>
                        <a:pt x="812800" y="363920"/>
                      </a:lnTo>
                      <a:lnTo>
                        <a:pt x="783573" y="406400"/>
                      </a:lnTo>
                      <a:lnTo>
                        <a:pt x="812800" y="448880"/>
                      </a:lnTo>
                      <a:lnTo>
                        <a:pt x="775331" y="484389"/>
                      </a:lnTo>
                      <a:lnTo>
                        <a:pt x="795038" y="531984"/>
                      </a:lnTo>
                      <a:lnTo>
                        <a:pt x="750965" y="558970"/>
                      </a:lnTo>
                      <a:lnTo>
                        <a:pt x="760292" y="609600"/>
                      </a:lnTo>
                      <a:lnTo>
                        <a:pt x="711539" y="626882"/>
                      </a:lnTo>
                      <a:lnTo>
                        <a:pt x="710077" y="678335"/>
                      </a:lnTo>
                      <a:lnTo>
                        <a:pt x="658778" y="685159"/>
                      </a:lnTo>
                      <a:lnTo>
                        <a:pt x="646591" y="735184"/>
                      </a:lnTo>
                      <a:lnTo>
                        <a:pt x="594986" y="731252"/>
                      </a:lnTo>
                      <a:lnTo>
                        <a:pt x="572609" y="777665"/>
                      </a:lnTo>
                      <a:lnTo>
                        <a:pt x="522953" y="763148"/>
                      </a:lnTo>
                      <a:lnTo>
                        <a:pt x="491360" y="803919"/>
                      </a:lnTo>
                      <a:lnTo>
                        <a:pt x="445826" y="779452"/>
                      </a:lnTo>
                      <a:lnTo>
                        <a:pt x="406400" y="812800"/>
                      </a:lnTo>
                      <a:lnTo>
                        <a:pt x="366974" y="779452"/>
                      </a:lnTo>
                      <a:lnTo>
                        <a:pt x="321440" y="803919"/>
                      </a:lnTo>
                      <a:lnTo>
                        <a:pt x="289847" y="763148"/>
                      </a:lnTo>
                      <a:lnTo>
                        <a:pt x="240191" y="777665"/>
                      </a:lnTo>
                      <a:lnTo>
                        <a:pt x="217814" y="731252"/>
                      </a:lnTo>
                      <a:lnTo>
                        <a:pt x="166209" y="735184"/>
                      </a:lnTo>
                      <a:lnTo>
                        <a:pt x="154022" y="685159"/>
                      </a:lnTo>
                      <a:lnTo>
                        <a:pt x="102722" y="678335"/>
                      </a:lnTo>
                      <a:lnTo>
                        <a:pt x="101260" y="626882"/>
                      </a:lnTo>
                      <a:lnTo>
                        <a:pt x="52509" y="609600"/>
                      </a:lnTo>
                      <a:lnTo>
                        <a:pt x="61835" y="558970"/>
                      </a:lnTo>
                      <a:lnTo>
                        <a:pt x="17762" y="531984"/>
                      </a:lnTo>
                      <a:lnTo>
                        <a:pt x="37469" y="484389"/>
                      </a:lnTo>
                      <a:lnTo>
                        <a:pt x="0" y="448880"/>
                      </a:lnTo>
                      <a:lnTo>
                        <a:pt x="29227" y="406400"/>
                      </a:lnTo>
                      <a:lnTo>
                        <a:pt x="0" y="363920"/>
                      </a:lnTo>
                      <a:lnTo>
                        <a:pt x="37469" y="328411"/>
                      </a:lnTo>
                      <a:lnTo>
                        <a:pt x="17762" y="280816"/>
                      </a:lnTo>
                      <a:lnTo>
                        <a:pt x="61835" y="253830"/>
                      </a:lnTo>
                      <a:lnTo>
                        <a:pt x="52509" y="203200"/>
                      </a:lnTo>
                      <a:lnTo>
                        <a:pt x="101260" y="185918"/>
                      </a:lnTo>
                      <a:lnTo>
                        <a:pt x="102722" y="134465"/>
                      </a:lnTo>
                      <a:lnTo>
                        <a:pt x="154022" y="127641"/>
                      </a:lnTo>
                      <a:lnTo>
                        <a:pt x="166209" y="77616"/>
                      </a:lnTo>
                      <a:lnTo>
                        <a:pt x="217814" y="81548"/>
                      </a:lnTo>
                      <a:lnTo>
                        <a:pt x="240191" y="35135"/>
                      </a:lnTo>
                      <a:lnTo>
                        <a:pt x="289847" y="49652"/>
                      </a:lnTo>
                      <a:lnTo>
                        <a:pt x="321440" y="8881"/>
                      </a:lnTo>
                      <a:lnTo>
                        <a:pt x="366974" y="33348"/>
                      </a:lnTo>
                      <a:lnTo>
                        <a:pt x="406400" y="0"/>
                      </a:lnTo>
                      <a:close/>
                    </a:path>
                  </a:pathLst>
                </a:custGeom>
                <a:solidFill>
                  <a:srgbClr val="E40E2A"/>
                </a:solidFill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F25ABBE0-80D6-4B1B-8FB9-940A7CBD1E84}"/>
                    </a:ext>
                  </a:extLst>
                </p:cNvPr>
                <p:cNvGrpSpPr/>
                <p:nvPr/>
              </p:nvGrpSpPr>
              <p:grpSpPr>
                <a:xfrm>
                  <a:off x="712131" y="3310700"/>
                  <a:ext cx="1722308" cy="963828"/>
                  <a:chOff x="733960" y="3317998"/>
                  <a:chExt cx="1722308" cy="963828"/>
                </a:xfrm>
              </p:grpSpPr>
              <p:sp>
                <p:nvSpPr>
                  <p:cNvPr id="28" name="TextBox 28"/>
                  <p:cNvSpPr txBox="1"/>
                  <p:nvPr/>
                </p:nvSpPr>
                <p:spPr>
                  <a:xfrm rot="21005456">
                    <a:off x="740316" y="3317998"/>
                    <a:ext cx="1569799" cy="37241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3220"/>
                      </a:lnSpc>
                    </a:pPr>
                    <a:r>
                      <a:rPr lang="en-US" dirty="0">
                        <a:solidFill>
                          <a:srgbClr val="FFFFFF"/>
                        </a:solidFill>
                        <a:latin typeface="Poppins"/>
                      </a:rPr>
                      <a:t>REWARD</a:t>
                    </a:r>
                  </a:p>
                </p:txBody>
              </p:sp>
              <p:sp>
                <p:nvSpPr>
                  <p:cNvPr id="29" name="TextBox 29"/>
                  <p:cNvSpPr txBox="1"/>
                  <p:nvPr/>
                </p:nvSpPr>
                <p:spPr>
                  <a:xfrm rot="21005456">
                    <a:off x="733960" y="3689530"/>
                    <a:ext cx="1722308" cy="59229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4759"/>
                      </a:lnSpc>
                    </a:pPr>
                    <a:r>
                      <a:rPr lang="en-US" sz="3399" b="1" dirty="0">
                        <a:solidFill>
                          <a:srgbClr val="FFFFFF"/>
                        </a:solidFill>
                        <a:latin typeface="Poppins" panose="00000500000000000000" pitchFamily="2" charset="0"/>
                      </a:rPr>
                      <a:t>$400</a:t>
                    </a:r>
                  </a:p>
                </p:txBody>
              </p:sp>
            </p:grpSp>
          </p:grp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1B9E4920-E0E8-AD20-1F4C-6DE77F0C6E91}"/>
                </a:ext>
              </a:extLst>
            </p:cNvPr>
            <p:cNvGrpSpPr/>
            <p:nvPr/>
          </p:nvGrpSpPr>
          <p:grpSpPr>
            <a:xfrm>
              <a:off x="895274" y="9804576"/>
              <a:ext cx="5765952" cy="384862"/>
              <a:chOff x="895274" y="9746825"/>
              <a:chExt cx="5765952" cy="384862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3691885" y="9827993"/>
                <a:ext cx="263960" cy="263960"/>
              </a:xfrm>
              <a:custGeom>
                <a:avLst/>
                <a:gdLst/>
                <a:ahLst/>
                <a:cxnLst/>
                <a:rect l="l" t="t" r="r" b="b"/>
                <a:pathLst>
                  <a:path w="263960" h="263960">
                    <a:moveTo>
                      <a:pt x="0" y="0"/>
                    </a:moveTo>
                    <a:lnTo>
                      <a:pt x="263960" y="0"/>
                    </a:lnTo>
                    <a:lnTo>
                      <a:pt x="263960" y="263960"/>
                    </a:lnTo>
                    <a:lnTo>
                      <a:pt x="0" y="26396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TextBox 49"/>
              <p:cNvSpPr txBox="1"/>
              <p:nvPr/>
            </p:nvSpPr>
            <p:spPr>
              <a:xfrm>
                <a:off x="4151924" y="9788260"/>
                <a:ext cx="2509302" cy="34342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2633"/>
                  </a:lnSpc>
                </a:pPr>
                <a:r>
                  <a:rPr lang="en-US" sz="2600" b="1" spc="66" dirty="0">
                    <a:solidFill>
                      <a:srgbClr val="E40E2A"/>
                    </a:solidFill>
                    <a:latin typeface="Poppins" panose="00000500000000000000" pitchFamily="2" charset="0"/>
                  </a:rPr>
                  <a:t>123-456-7890</a:t>
                </a:r>
              </a:p>
            </p:txBody>
          </p:sp>
          <p:sp>
            <p:nvSpPr>
              <p:cNvPr id="50" name="TextBox 50"/>
              <p:cNvSpPr txBox="1"/>
              <p:nvPr/>
            </p:nvSpPr>
            <p:spPr>
              <a:xfrm>
                <a:off x="895274" y="9746825"/>
                <a:ext cx="2801340" cy="3500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00"/>
                  </a:lnSpc>
                </a:pPr>
                <a:r>
                  <a:rPr lang="en-US" sz="1000" dirty="0">
                    <a:solidFill>
                      <a:srgbClr val="212121"/>
                    </a:solidFill>
                    <a:latin typeface="Poppins" panose="00000500000000000000" pitchFamily="2" charset="0"/>
                  </a:rPr>
                  <a:t>Please call us if you see her anywhere </a:t>
                </a:r>
              </a:p>
              <a:p>
                <a:pPr>
                  <a:lnSpc>
                    <a:spcPts val="14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212121"/>
                    </a:solidFill>
                    <a:latin typeface="Poppins" panose="00000500000000000000" pitchFamily="2" charset="0"/>
                  </a:rPr>
                  <a:t>so we can pick her up. We miss her a lot!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A30F121B-610F-3CA1-BF10-E0D40E70517F}"/>
                </a:ext>
              </a:extLst>
            </p:cNvPr>
            <p:cNvGrpSpPr/>
            <p:nvPr/>
          </p:nvGrpSpPr>
          <p:grpSpPr>
            <a:xfrm>
              <a:off x="770888" y="6628476"/>
              <a:ext cx="6029612" cy="2797548"/>
              <a:chOff x="770888" y="6628476"/>
              <a:chExt cx="6029612" cy="2797548"/>
            </a:xfrm>
          </p:grpSpPr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E8FBFEB0-1F88-D5FB-2E25-0D4DFEC40432}"/>
                  </a:ext>
                </a:extLst>
              </p:cNvPr>
              <p:cNvSpPr/>
              <p:nvPr/>
            </p:nvSpPr>
            <p:spPr>
              <a:xfrm>
                <a:off x="770888" y="6628476"/>
                <a:ext cx="6029612" cy="2797548"/>
              </a:xfrm>
              <a:prstGeom prst="roundRect">
                <a:avLst>
                  <a:gd name="adj" fmla="val 9857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85F662BD-04E7-EFF0-7B1B-92C3B7FD8624}"/>
                  </a:ext>
                </a:extLst>
              </p:cNvPr>
              <p:cNvGrpSpPr/>
              <p:nvPr/>
            </p:nvGrpSpPr>
            <p:grpSpPr>
              <a:xfrm>
                <a:off x="1286921" y="6724364"/>
                <a:ext cx="4997547" cy="2462816"/>
                <a:chOff x="1286921" y="6696787"/>
                <a:chExt cx="4997547" cy="2462816"/>
              </a:xfrm>
            </p:grpSpPr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E1CB65FD-325C-8173-BF53-39E35E6C94B2}"/>
                    </a:ext>
                  </a:extLst>
                </p:cNvPr>
                <p:cNvGrpSpPr/>
                <p:nvPr/>
              </p:nvGrpSpPr>
              <p:grpSpPr>
                <a:xfrm>
                  <a:off x="1627345" y="8093090"/>
                  <a:ext cx="4316698" cy="1066513"/>
                  <a:chOff x="1654293" y="8093090"/>
                  <a:chExt cx="4316698" cy="1066513"/>
                </a:xfrm>
              </p:grpSpPr>
              <p:sp>
                <p:nvSpPr>
                  <p:cNvPr id="31" name="AutoShape 31"/>
                  <p:cNvSpPr/>
                  <p:nvPr/>
                </p:nvSpPr>
                <p:spPr>
                  <a:xfrm flipV="1">
                    <a:off x="1659529" y="8410559"/>
                    <a:ext cx="4240942" cy="0"/>
                  </a:xfrm>
                  <a:prstGeom prst="line">
                    <a:avLst/>
                  </a:prstGeom>
                  <a:ln w="25400" cap="flat">
                    <a:solidFill>
                      <a:srgbClr val="696161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2" name="AutoShape 32"/>
                  <p:cNvSpPr/>
                  <p:nvPr/>
                </p:nvSpPr>
                <p:spPr>
                  <a:xfrm flipV="1">
                    <a:off x="1654293" y="8844993"/>
                    <a:ext cx="4251413" cy="0"/>
                  </a:xfrm>
                  <a:prstGeom prst="line">
                    <a:avLst/>
                  </a:prstGeom>
                  <a:ln w="25400" cap="flat">
                    <a:solidFill>
                      <a:srgbClr val="696161">
                        <a:alpha val="40000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55" name="Group 54">
                    <a:extLst>
                      <a:ext uri="{FF2B5EF4-FFF2-40B4-BE49-F238E27FC236}">
                        <a16:creationId xmlns:a16="http://schemas.microsoft.com/office/drawing/2014/main" id="{BB7952D3-1A2A-D56C-1028-A5EFD47176E4}"/>
                      </a:ext>
                    </a:extLst>
                  </p:cNvPr>
                  <p:cNvGrpSpPr/>
                  <p:nvPr/>
                </p:nvGrpSpPr>
                <p:grpSpPr>
                  <a:xfrm>
                    <a:off x="1671559" y="8093090"/>
                    <a:ext cx="4213383" cy="200504"/>
                    <a:chOff x="1671559" y="8093090"/>
                    <a:chExt cx="4213383" cy="200504"/>
                  </a:xfrm>
                </p:grpSpPr>
                <p:sp>
                  <p:nvSpPr>
                    <p:cNvPr id="33" name="Freeform 33"/>
                    <p:cNvSpPr/>
                    <p:nvPr/>
                  </p:nvSpPr>
                  <p:spPr>
                    <a:xfrm>
                      <a:off x="1671559" y="8139364"/>
                      <a:ext cx="143941" cy="1079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91921" h="143941">
                          <a:moveTo>
                            <a:pt x="0" y="0"/>
                          </a:moveTo>
                          <a:lnTo>
                            <a:pt x="191921" y="0"/>
                          </a:lnTo>
                          <a:lnTo>
                            <a:pt x="191921" y="143940"/>
                          </a:lnTo>
                          <a:lnTo>
                            <a:pt x="0" y="14394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6">
                        <a:extLst>
                          <a:ext uri="{96DAC541-7B7A-43D3-8B79-37D633B846F1}">
                            <asvg:svgBlip xmlns:asvg="http://schemas.microsoft.com/office/drawing/2016/SVG/main" r:embed="rId7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4" name="TextBox 34"/>
                    <p:cNvSpPr txBox="1"/>
                    <p:nvPr/>
                  </p:nvSpPr>
                  <p:spPr>
                    <a:xfrm>
                      <a:off x="1944176" y="8093090"/>
                      <a:ext cx="3940766" cy="20050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559"/>
                        </a:lnSpc>
                      </a:pPr>
                      <a:r>
                        <a:rPr lang="en-US" sz="1299" dirty="0">
                          <a:solidFill>
                            <a:srgbClr val="161D19"/>
                          </a:solidFill>
                          <a:latin typeface="Poppins"/>
                        </a:rPr>
                        <a:t>She wears a red-gray necklace with a bell</a:t>
                      </a:r>
                    </a:p>
                  </p:txBody>
                </p:sp>
              </p:grpSp>
              <p:grpSp>
                <p:nvGrpSpPr>
                  <p:cNvPr id="53" name="Group 52">
                    <a:extLst>
                      <a:ext uri="{FF2B5EF4-FFF2-40B4-BE49-F238E27FC236}">
                        <a16:creationId xmlns:a16="http://schemas.microsoft.com/office/drawing/2014/main" id="{FEDA9302-091F-93B3-5B66-D80E59266D1B}"/>
                      </a:ext>
                    </a:extLst>
                  </p:cNvPr>
                  <p:cNvGrpSpPr/>
                  <p:nvPr/>
                </p:nvGrpSpPr>
                <p:grpSpPr>
                  <a:xfrm>
                    <a:off x="1671559" y="8527524"/>
                    <a:ext cx="4213382" cy="200504"/>
                    <a:chOff x="1671559" y="8527525"/>
                    <a:chExt cx="4213382" cy="200504"/>
                  </a:xfrm>
                </p:grpSpPr>
                <p:sp>
                  <p:nvSpPr>
                    <p:cNvPr id="35" name="Freeform 35"/>
                    <p:cNvSpPr/>
                    <p:nvPr/>
                  </p:nvSpPr>
                  <p:spPr>
                    <a:xfrm>
                      <a:off x="1671559" y="8573799"/>
                      <a:ext cx="143941" cy="1079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91921" h="143941">
                          <a:moveTo>
                            <a:pt x="0" y="0"/>
                          </a:moveTo>
                          <a:lnTo>
                            <a:pt x="191921" y="0"/>
                          </a:lnTo>
                          <a:lnTo>
                            <a:pt x="191921" y="143941"/>
                          </a:lnTo>
                          <a:lnTo>
                            <a:pt x="0" y="14394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6">
                        <a:extLst>
                          <a:ext uri="{96DAC541-7B7A-43D3-8B79-37D633B846F1}">
                            <asvg:svgBlip xmlns:asvg="http://schemas.microsoft.com/office/drawing/2016/SVG/main" r:embed="rId7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6" name="TextBox 36"/>
                    <p:cNvSpPr txBox="1"/>
                    <p:nvPr/>
                  </p:nvSpPr>
                  <p:spPr>
                    <a:xfrm>
                      <a:off x="1944175" y="8527525"/>
                      <a:ext cx="3940766" cy="200504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559"/>
                        </a:lnSpc>
                      </a:pPr>
                      <a:r>
                        <a:rPr lang="en-US" sz="1299" dirty="0">
                          <a:solidFill>
                            <a:srgbClr val="212121"/>
                          </a:solidFill>
                          <a:latin typeface="Poppins"/>
                        </a:rPr>
                        <a:t>Her right ear is missing a small piece</a:t>
                      </a:r>
                    </a:p>
                  </p:txBody>
                </p:sp>
              </p:grpSp>
              <p:grpSp>
                <p:nvGrpSpPr>
                  <p:cNvPr id="54" name="Group 53">
                    <a:extLst>
                      <a:ext uri="{FF2B5EF4-FFF2-40B4-BE49-F238E27FC236}">
                        <a16:creationId xmlns:a16="http://schemas.microsoft.com/office/drawing/2014/main" id="{71879601-6874-613D-BE8F-2ED059B62AE5}"/>
                      </a:ext>
                    </a:extLst>
                  </p:cNvPr>
                  <p:cNvGrpSpPr/>
                  <p:nvPr/>
                </p:nvGrpSpPr>
                <p:grpSpPr>
                  <a:xfrm>
                    <a:off x="1671559" y="8961959"/>
                    <a:ext cx="4299432" cy="197644"/>
                    <a:chOff x="1671559" y="8961959"/>
                    <a:chExt cx="4299432" cy="197644"/>
                  </a:xfrm>
                </p:grpSpPr>
                <p:sp>
                  <p:nvSpPr>
                    <p:cNvPr id="37" name="Freeform 37"/>
                    <p:cNvSpPr/>
                    <p:nvPr/>
                  </p:nvSpPr>
                  <p:spPr>
                    <a:xfrm>
                      <a:off x="1671559" y="9006803"/>
                      <a:ext cx="143941" cy="1079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91921" h="143941">
                          <a:moveTo>
                            <a:pt x="0" y="0"/>
                          </a:moveTo>
                          <a:lnTo>
                            <a:pt x="191921" y="0"/>
                          </a:lnTo>
                          <a:lnTo>
                            <a:pt x="191921" y="143941"/>
                          </a:lnTo>
                          <a:lnTo>
                            <a:pt x="0" y="14394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6">
                        <a:extLst>
                          <a:ext uri="{96DAC541-7B7A-43D3-8B79-37D633B846F1}">
                            <asvg:svgBlip xmlns:asvg="http://schemas.microsoft.com/office/drawing/2016/SVG/main" r:embed="rId7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" name="TextBox 38"/>
                    <p:cNvSpPr txBox="1"/>
                    <p:nvPr/>
                  </p:nvSpPr>
                  <p:spPr>
                    <a:xfrm>
                      <a:off x="1944175" y="8961959"/>
                      <a:ext cx="4026816" cy="197644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559"/>
                        </a:lnSpc>
                      </a:pPr>
                      <a:r>
                        <a:rPr lang="en-US" sz="1299" dirty="0">
                          <a:solidFill>
                            <a:srgbClr val="212121"/>
                          </a:solidFill>
                          <a:latin typeface="Poppins"/>
                        </a:rPr>
                        <a:t>Her fur is yellow-white, slightly curly on the back</a:t>
                      </a:r>
                    </a:p>
                  </p:txBody>
                </p:sp>
              </p:grpSp>
            </p:grpSp>
            <p:sp>
              <p:nvSpPr>
                <p:cNvPr id="45" name="TextBox 45"/>
                <p:cNvSpPr txBox="1"/>
                <p:nvPr/>
              </p:nvSpPr>
              <p:spPr>
                <a:xfrm>
                  <a:off x="1286921" y="6696787"/>
                  <a:ext cx="4997547" cy="68223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5600"/>
                    </a:lnSpc>
                    <a:spcBef>
                      <a:spcPct val="0"/>
                    </a:spcBef>
                  </a:pPr>
                  <a:r>
                    <a:rPr lang="en-US" sz="4000" b="1" spc="100" dirty="0">
                      <a:solidFill>
                        <a:srgbClr val="212121"/>
                      </a:solidFill>
                      <a:latin typeface="Poppins" panose="00000500000000000000" pitchFamily="2" charset="0"/>
                    </a:rPr>
                    <a:t>MOLLY</a:t>
                  </a:r>
                </a:p>
              </p:txBody>
            </p:sp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1938F593-606E-1C93-DAD4-F0EF965583AB}"/>
                    </a:ext>
                  </a:extLst>
                </p:cNvPr>
                <p:cNvGrpSpPr/>
                <p:nvPr/>
              </p:nvGrpSpPr>
              <p:grpSpPr>
                <a:xfrm>
                  <a:off x="1472161" y="7530957"/>
                  <a:ext cx="4627066" cy="362257"/>
                  <a:chOff x="1464717" y="7530957"/>
                  <a:chExt cx="4627066" cy="362257"/>
                </a:xfrm>
              </p:grpSpPr>
              <p:grpSp>
                <p:nvGrpSpPr>
                  <p:cNvPr id="57" name="Group 56">
                    <a:extLst>
                      <a:ext uri="{FF2B5EF4-FFF2-40B4-BE49-F238E27FC236}">
                        <a16:creationId xmlns:a16="http://schemas.microsoft.com/office/drawing/2014/main" id="{ACEC1C7F-21B9-C2A1-4BF3-7ADF69340067}"/>
                      </a:ext>
                    </a:extLst>
                  </p:cNvPr>
                  <p:cNvGrpSpPr/>
                  <p:nvPr/>
                </p:nvGrpSpPr>
                <p:grpSpPr>
                  <a:xfrm>
                    <a:off x="1464717" y="7530957"/>
                    <a:ext cx="2183304" cy="362257"/>
                    <a:chOff x="1464717" y="7530957"/>
                    <a:chExt cx="2183304" cy="362257"/>
                  </a:xfrm>
                </p:grpSpPr>
                <p:sp>
                  <p:nvSpPr>
                    <p:cNvPr id="30" name="Rectangle: Rounded Corners 29">
                      <a:extLst>
                        <a:ext uri="{FF2B5EF4-FFF2-40B4-BE49-F238E27FC236}">
                          <a16:creationId xmlns:a16="http://schemas.microsoft.com/office/drawing/2014/main" id="{BFB98D03-FC2B-F57B-D9EB-CF0E232BC7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4717" y="7530957"/>
                      <a:ext cx="2183304" cy="362257"/>
                    </a:xfrm>
                    <a:prstGeom prst="roundRect">
                      <a:avLst>
                        <a:gd name="adj" fmla="val 28920"/>
                      </a:avLst>
                    </a:prstGeom>
                    <a:solidFill>
                      <a:srgbClr val="E40E2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46" name="TextBox 46"/>
                    <p:cNvSpPr txBox="1"/>
                    <p:nvPr/>
                  </p:nvSpPr>
                  <p:spPr>
                    <a:xfrm>
                      <a:off x="1514025" y="7600872"/>
                      <a:ext cx="2084688" cy="222426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algn="ctr">
                        <a:lnSpc>
                          <a:spcPts val="1795"/>
                        </a:lnSpc>
                      </a:pPr>
                      <a:r>
                        <a:rPr lang="en-US" sz="1200" spc="30" dirty="0">
                          <a:solidFill>
                            <a:srgbClr val="FFFFFF"/>
                          </a:solidFill>
                          <a:latin typeface="Poppins SemiBold" panose="00000700000000000000" pitchFamily="2" charset="0"/>
                        </a:rPr>
                        <a:t>LABRADOR RETRIEVER</a:t>
                      </a:r>
                    </a:p>
                  </p:txBody>
                </p:sp>
              </p:grpSp>
              <p:grpSp>
                <p:nvGrpSpPr>
                  <p:cNvPr id="58" name="Group 57">
                    <a:extLst>
                      <a:ext uri="{FF2B5EF4-FFF2-40B4-BE49-F238E27FC236}">
                        <a16:creationId xmlns:a16="http://schemas.microsoft.com/office/drawing/2014/main" id="{A3819B61-E4A3-394C-8611-EAFC7D39CA7C}"/>
                      </a:ext>
                    </a:extLst>
                  </p:cNvPr>
                  <p:cNvGrpSpPr/>
                  <p:nvPr/>
                </p:nvGrpSpPr>
                <p:grpSpPr>
                  <a:xfrm>
                    <a:off x="3787039" y="7530957"/>
                    <a:ext cx="888406" cy="362257"/>
                    <a:chOff x="3787039" y="7530957"/>
                    <a:chExt cx="888406" cy="362257"/>
                  </a:xfrm>
                </p:grpSpPr>
                <p:sp>
                  <p:nvSpPr>
                    <p:cNvPr id="41" name="Rectangle: Rounded Corners 40">
                      <a:extLst>
                        <a:ext uri="{FF2B5EF4-FFF2-40B4-BE49-F238E27FC236}">
                          <a16:creationId xmlns:a16="http://schemas.microsoft.com/office/drawing/2014/main" id="{CF393397-8B98-D076-B808-9B21DA60DD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87039" y="7530957"/>
                      <a:ext cx="888406" cy="362257"/>
                    </a:xfrm>
                    <a:prstGeom prst="roundRect">
                      <a:avLst>
                        <a:gd name="adj" fmla="val 28920"/>
                      </a:avLst>
                    </a:prstGeom>
                    <a:solidFill>
                      <a:srgbClr val="E40E2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47" name="TextBox 47"/>
                    <p:cNvSpPr txBox="1"/>
                    <p:nvPr/>
                  </p:nvSpPr>
                  <p:spPr>
                    <a:xfrm>
                      <a:off x="3813160" y="7600872"/>
                      <a:ext cx="836164" cy="222426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algn="ctr">
                        <a:lnSpc>
                          <a:spcPts val="1795"/>
                        </a:lnSpc>
                      </a:pPr>
                      <a:r>
                        <a:rPr lang="en-US" sz="1200" spc="30" dirty="0">
                          <a:solidFill>
                            <a:srgbClr val="FFFFFF"/>
                          </a:solidFill>
                          <a:latin typeface="Poppins SemiBold" panose="00000700000000000000" pitchFamily="2" charset="0"/>
                        </a:rPr>
                        <a:t>FEMALE</a:t>
                      </a:r>
                    </a:p>
                  </p:txBody>
                </p:sp>
              </p:grpSp>
              <p:grpSp>
                <p:nvGrpSpPr>
                  <p:cNvPr id="59" name="Group 58">
                    <a:extLst>
                      <a:ext uri="{FF2B5EF4-FFF2-40B4-BE49-F238E27FC236}">
                        <a16:creationId xmlns:a16="http://schemas.microsoft.com/office/drawing/2014/main" id="{5BCCE749-15EE-EFDA-606B-7336F8E88139}"/>
                      </a:ext>
                    </a:extLst>
                  </p:cNvPr>
                  <p:cNvGrpSpPr/>
                  <p:nvPr/>
                </p:nvGrpSpPr>
                <p:grpSpPr>
                  <a:xfrm>
                    <a:off x="4814463" y="7530957"/>
                    <a:ext cx="1277320" cy="362257"/>
                    <a:chOff x="4814463" y="7530957"/>
                    <a:chExt cx="1277320" cy="362257"/>
                  </a:xfrm>
                </p:grpSpPr>
                <p:sp>
                  <p:nvSpPr>
                    <p:cNvPr id="51" name="Rectangle: Rounded Corners 50">
                      <a:extLst>
                        <a:ext uri="{FF2B5EF4-FFF2-40B4-BE49-F238E27FC236}">
                          <a16:creationId xmlns:a16="http://schemas.microsoft.com/office/drawing/2014/main" id="{7E15E8E1-3491-276E-230C-8BEFE85552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16213" y="7530957"/>
                      <a:ext cx="1273820" cy="362257"/>
                    </a:xfrm>
                    <a:prstGeom prst="roundRect">
                      <a:avLst>
                        <a:gd name="adj" fmla="val 28920"/>
                      </a:avLst>
                    </a:prstGeom>
                    <a:solidFill>
                      <a:srgbClr val="E40E2A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48" name="TextBox 48"/>
                    <p:cNvSpPr txBox="1"/>
                    <p:nvPr/>
                  </p:nvSpPr>
                  <p:spPr>
                    <a:xfrm>
                      <a:off x="4814463" y="7600872"/>
                      <a:ext cx="1277320" cy="222426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algn="ctr">
                        <a:lnSpc>
                          <a:spcPts val="1795"/>
                        </a:lnSpc>
                      </a:pPr>
                      <a:r>
                        <a:rPr lang="en-US" sz="1200" spc="30" dirty="0">
                          <a:solidFill>
                            <a:srgbClr val="FFFFFF"/>
                          </a:solidFill>
                          <a:latin typeface="Poppins SemiBold" panose="00000700000000000000" pitchFamily="2" charset="0"/>
                        </a:rPr>
                        <a:t>4 YEARS OLD</a:t>
                      </a:r>
                    </a:p>
                  </p:txBody>
                </p:sp>
              </p:grpSp>
            </p:grp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E3359FF-B8D8-57E8-65E1-47CD2E9EFAE5}"/>
                </a:ext>
              </a:extLst>
            </p:cNvPr>
            <p:cNvGrpSpPr/>
            <p:nvPr/>
          </p:nvGrpSpPr>
          <p:grpSpPr>
            <a:xfrm>
              <a:off x="318592" y="704255"/>
              <a:ext cx="6922816" cy="1450874"/>
              <a:chOff x="318592" y="704255"/>
              <a:chExt cx="6922816" cy="1450874"/>
            </a:xfrm>
          </p:grpSpPr>
          <p:sp>
            <p:nvSpPr>
              <p:cNvPr id="40" name="TextBox 40"/>
              <p:cNvSpPr txBox="1"/>
              <p:nvPr/>
            </p:nvSpPr>
            <p:spPr>
              <a:xfrm>
                <a:off x="318592" y="1230581"/>
                <a:ext cx="6922816" cy="92454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6999"/>
                  </a:lnSpc>
                </a:pPr>
                <a:r>
                  <a:rPr lang="en-US" sz="6999" b="1" spc="55" dirty="0">
                    <a:solidFill>
                      <a:srgbClr val="E40E2A"/>
                    </a:solidFill>
                    <a:latin typeface="Poppins" panose="00000500000000000000" pitchFamily="2" charset="0"/>
                  </a:rPr>
                  <a:t>MISSING DOG</a:t>
                </a:r>
              </a:p>
            </p:txBody>
          </p:sp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1D39E0B9-EBFC-54E7-3C8C-FA2002E7C000}"/>
                  </a:ext>
                </a:extLst>
              </p:cNvPr>
              <p:cNvGrpSpPr/>
              <p:nvPr/>
            </p:nvGrpSpPr>
            <p:grpSpPr>
              <a:xfrm>
                <a:off x="2195845" y="704255"/>
                <a:ext cx="3164809" cy="402436"/>
                <a:chOff x="2197582" y="704255"/>
                <a:chExt cx="3164809" cy="402436"/>
              </a:xfrm>
            </p:grpSpPr>
            <p:sp>
              <p:nvSpPr>
                <p:cNvPr id="42" name="Freeform 42"/>
                <p:cNvSpPr/>
                <p:nvPr/>
              </p:nvSpPr>
              <p:spPr>
                <a:xfrm rot="20329202">
                  <a:off x="2197582" y="803689"/>
                  <a:ext cx="320638" cy="303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517" h="404003">
                      <a:moveTo>
                        <a:pt x="0" y="0"/>
                      </a:moveTo>
                      <a:lnTo>
                        <a:pt x="427516" y="0"/>
                      </a:lnTo>
                      <a:lnTo>
                        <a:pt x="427516" y="404003"/>
                      </a:lnTo>
                      <a:lnTo>
                        <a:pt x="0" y="4040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8">
                    <a:extLst>
                      <a:ext uri="{96DAC541-7B7A-43D3-8B79-37D633B846F1}">
                        <asvg:svgBlip xmlns:asvg="http://schemas.microsoft.com/office/drawing/2016/SVG/main" r:embed="rId9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3" name="Freeform 43"/>
                <p:cNvSpPr/>
                <p:nvPr/>
              </p:nvSpPr>
              <p:spPr>
                <a:xfrm rot="1271999">
                  <a:off x="5041753" y="803689"/>
                  <a:ext cx="320638" cy="303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7517" h="404003">
                      <a:moveTo>
                        <a:pt x="0" y="0"/>
                      </a:moveTo>
                      <a:lnTo>
                        <a:pt x="427517" y="0"/>
                      </a:lnTo>
                      <a:lnTo>
                        <a:pt x="427517" y="404003"/>
                      </a:lnTo>
                      <a:lnTo>
                        <a:pt x="0" y="4040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8">
                    <a:extLst>
                      <a:ext uri="{96DAC541-7B7A-43D3-8B79-37D633B846F1}">
                        <asvg:svgBlip xmlns:asvg="http://schemas.microsoft.com/office/drawing/2016/SVG/main" r:embed="rId9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4" name="TextBox 44"/>
                <p:cNvSpPr txBox="1"/>
                <p:nvPr/>
              </p:nvSpPr>
              <p:spPr>
                <a:xfrm>
                  <a:off x="2708015" y="704255"/>
                  <a:ext cx="2143944" cy="29149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2365"/>
                    </a:lnSpc>
                  </a:pPr>
                  <a:r>
                    <a:rPr lang="en-US" sz="1700" dirty="0">
                      <a:solidFill>
                        <a:srgbClr val="E40E2A"/>
                      </a:solidFill>
                      <a:latin typeface="Poppins SemiBold" panose="00000700000000000000" pitchFamily="2" charset="0"/>
                    </a:rPr>
                    <a:t>WE NEED YOUR HELP</a:t>
                  </a:r>
                </a:p>
              </p:txBody>
            </p:sp>
          </p:grpSp>
        </p:grpSp>
        <p:sp>
          <p:nvSpPr>
            <p:cNvPr id="6" name="Freeform 6"/>
            <p:cNvSpPr/>
            <p:nvPr/>
          </p:nvSpPr>
          <p:spPr>
            <a:xfrm>
              <a:off x="0" y="0"/>
              <a:ext cx="7556500" cy="125411"/>
            </a:xfrm>
            <a:custGeom>
              <a:avLst/>
              <a:gdLst/>
              <a:ahLst/>
              <a:cxnLst/>
              <a:rect l="l" t="t" r="r" b="b"/>
              <a:pathLst>
                <a:path w="2709333" h="44944">
                  <a:moveTo>
                    <a:pt x="0" y="0"/>
                  </a:moveTo>
                  <a:lnTo>
                    <a:pt x="2709333" y="0"/>
                  </a:lnTo>
                  <a:lnTo>
                    <a:pt x="2709333" y="44944"/>
                  </a:lnTo>
                  <a:lnTo>
                    <a:pt x="0" y="44944"/>
                  </a:lnTo>
                  <a:close/>
                </a:path>
              </a:pathLst>
            </a:custGeom>
            <a:solidFill>
              <a:srgbClr val="E40E2A"/>
            </a:solidFill>
          </p:spPr>
          <p:txBody>
            <a:bodyPr>
              <a:normAutofit fontScale="25000" lnSpcReduction="20000"/>
            </a:bodyPr>
            <a:lstStyle/>
            <a:p>
              <a:endParaRPr lang="en-US"/>
            </a:p>
          </p:txBody>
        </p:sp>
        <p:sp>
          <p:nvSpPr>
            <p:cNvPr id="39" name="TemplateLAB"/>
            <p:cNvSpPr/>
            <p:nvPr/>
          </p:nvSpPr>
          <p:spPr>
            <a:xfrm rot="5400000">
              <a:off x="6640044" y="8315979"/>
              <a:ext cx="685948" cy="113181"/>
            </a:xfrm>
            <a:custGeom>
              <a:avLst/>
              <a:gdLst/>
              <a:ahLst/>
              <a:cxnLst/>
              <a:rect l="l" t="t" r="r" b="b"/>
              <a:pathLst>
                <a:path w="685948" h="113181">
                  <a:moveTo>
                    <a:pt x="0" y="0"/>
                  </a:moveTo>
                  <a:lnTo>
                    <a:pt x="685947" y="0"/>
                  </a:lnTo>
                  <a:lnTo>
                    <a:pt x="685947" y="113182"/>
                  </a:lnTo>
                  <a:lnTo>
                    <a:pt x="0" y="11318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</TotalTime>
  <Words>64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Arial</vt:lpstr>
      <vt:lpstr>Poppins SemiBold</vt:lpstr>
      <vt:lpstr>Poppin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sing Poster Template (A4 Portrait)</dc:title>
  <dc:creator>Hoang Anh</dc:creator>
  <cp:lastModifiedBy>Hoang Anh</cp:lastModifiedBy>
  <cp:revision>7</cp:revision>
  <dcterms:created xsi:type="dcterms:W3CDTF">2006-08-16T00:00:00Z</dcterms:created>
  <dcterms:modified xsi:type="dcterms:W3CDTF">2023-10-13T05:23:12Z</dcterms:modified>
  <dc:identifier>DAFwujKlHpE</dc:identifier>
</cp:coreProperties>
</file>